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sldIdLst>
    <p:sldId id="256" r:id="rId2"/>
    <p:sldId id="257" r:id="rId3"/>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9BD3"/>
    <a:srgbClr val="7E9DC2"/>
    <a:srgbClr val="73B0D7"/>
    <a:srgbClr val="66CCFF"/>
    <a:srgbClr val="0070C0"/>
    <a:srgbClr val="99CCFF"/>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D271C1-0820-4B41-98DA-5F5F1C6E56F1}" v="68" dt="2025-04-22T12:18:55.9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109" d="100"/>
          <a:sy n="109" d="100"/>
        </p:scale>
        <p:origin x="573" y="65"/>
      </p:cViewPr>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2" Target="slides/slide1.xml" Type="http://schemas.openxmlformats.org/officeDocument/2006/relationships/slide"/><Relationship Id="rId3" Target="slides/slide2.xml" Type="http://schemas.openxmlformats.org/officeDocument/2006/relationships/slide"/><Relationship Id="rId4" Target="tags/tag1.xml" Type="http://schemas.openxmlformats.org/officeDocument/2006/relationships/tags"/><Relationship Id="rId5" Target="presProps.xml" Type="http://schemas.openxmlformats.org/officeDocument/2006/relationships/presProps"/><Relationship Id="rId6" Target="viewProps.xml" Type="http://schemas.openxmlformats.org/officeDocument/2006/relationships/viewProps"/><Relationship Id="rId7" Target="theme/theme1.xml" Type="http://schemas.openxmlformats.org/officeDocument/2006/relationships/theme"/><Relationship Id="rId8" Target="tableStyles.xml" Type="http://schemas.openxmlformats.org/officeDocument/2006/relationships/tableStyles"/><Relationship Id="rId9" Target="revisionInfo.xml" Type="http://schemas.microsoft.com/office/2015/10/relationships/revisionInfo"/></Relationship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906591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123619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481448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1738278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359870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2117876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858848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4102602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7541838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370623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BB493DAF-81C2-4A9F-AA29-324D9D80EDA4}" type="datetimeFigureOut">
              <a:rPr kumimoji="1" lang="ja-JP" altLang="en-US" smtClean="0"/>
              <a:t>2025/4/2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1260655657"/>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BE2DC47-DEF8-276F-A0A5-97F318E5B221}"/>
              </a:ext>
            </a:extLst>
          </p:cNvPr>
          <p:cNvGraphicFramePr>
            <a:graphicFrameLocks noChangeAspect="1"/>
          </p:cNvGraphicFramePr>
          <p:nvPr userDrawn="1">
            <p:custDataLst>
              <p:tags r:id="rId13"/>
            </p:custDataLst>
            <p:extLst>
              <p:ext uri="{D42A27DB-BD31-4B8C-83A1-F6EECF244321}">
                <p14:modId xmlns:p14="http://schemas.microsoft.com/office/powerpoint/2010/main" val="130285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スライド" r:id="rId14" imgW="540" imgH="541" progId="TCLayout.ActiveDocument.1">
                  <p:embed/>
                </p:oleObj>
              </mc:Choice>
              <mc:Fallback>
                <p:oleObj name="think-cellスライド" r:id="rId14" imgW="540" imgH="541" progId="TCLayout.ActiveDocument.1">
                  <p:embed/>
                  <p:pic>
                    <p:nvPicPr>
                      <p:cNvPr id="8" name="think-cell data - do not delete" hidden="1">
                        <a:extLst>
                          <a:ext uri="{FF2B5EF4-FFF2-40B4-BE49-F238E27FC236}">
                            <a16:creationId xmlns:a16="http://schemas.microsoft.com/office/drawing/2014/main" id="{BBE2DC47-DEF8-276F-A0A5-97F318E5B2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493DAF-81C2-4A9F-AA29-324D9D80EDA4}" type="datetimeFigureOut">
              <a:rPr kumimoji="1" lang="ja-JP" altLang="en-US" smtClean="0"/>
              <a:t>2025/4/25</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1C99BD-4CB3-4AB8-B45E-067A6B3414C4}" type="slidenum">
              <a:rPr kumimoji="1" lang="ja-JP" altLang="en-US" smtClean="0"/>
              <a:t>‹#›</a:t>
            </a:fld>
            <a:endParaRPr kumimoji="1" lang="ja-JP" altLang="en-US"/>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1793" y="1248041"/>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21530"/>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21039"/>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部</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6693513"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 </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金融機関名：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Tree>
    <p:extLst>
      <p:ext uri="{BB962C8B-B14F-4D97-AF65-F5344CB8AC3E}">
        <p14:creationId xmlns:p14="http://schemas.microsoft.com/office/powerpoint/2010/main" val="32752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3B975312-F8BC-2E7A-D8FD-2E0FC655ACC8}"/>
              </a:ext>
            </a:extLst>
          </p:cNvPr>
          <p:cNvSpPr/>
          <p:nvPr/>
        </p:nvSpPr>
        <p:spPr>
          <a:xfrm>
            <a:off x="507996" y="3946072"/>
            <a:ext cx="8710144" cy="2419692"/>
          </a:xfrm>
          <a:prstGeom prst="rect">
            <a:avLst/>
          </a:prstGeom>
          <a:solidFill>
            <a:schemeClr val="accent4">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7FDF80C-1CA3-D0E1-C665-8F584874D67D}"/>
              </a:ext>
            </a:extLst>
          </p:cNvPr>
          <p:cNvSpPr/>
          <p:nvPr/>
        </p:nvSpPr>
        <p:spPr>
          <a:xfrm>
            <a:off x="507996" y="522346"/>
            <a:ext cx="8710144" cy="3289301"/>
          </a:xfrm>
          <a:prstGeom prst="rect">
            <a:avLst/>
          </a:prstGeom>
          <a:solidFill>
            <a:schemeClr val="accent3">
              <a:lumMod val="20000"/>
              <a:lumOff val="80000"/>
            </a:schemeClr>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hangingPunct="0"/>
            <a:endParaRPr lang="ja-JP" altLang="en-US" sz="1200" dirty="0">
              <a:solidFill>
                <a:srgbClr val="FFFFFF"/>
              </a:solidFill>
              <a:latin typeface="Meiryo UI" panose="020B0604030504040204" pitchFamily="50" charset="-128"/>
              <a:ea typeface="Meiryo UI" panose="020B0604030504040204" pitchFamily="50" charset="-128"/>
            </a:endParaRPr>
          </a:p>
        </p:txBody>
      </p:sp>
      <p:grpSp>
        <p:nvGrpSpPr>
          <p:cNvPr id="5" name="グループ化 4">
            <a:extLst>
              <a:ext uri="{FF2B5EF4-FFF2-40B4-BE49-F238E27FC236}">
                <a16:creationId xmlns:a16="http://schemas.microsoft.com/office/drawing/2014/main" id="{73B2C42F-71D2-9335-CB75-820D2479CF9C}"/>
              </a:ext>
            </a:extLst>
          </p:cNvPr>
          <p:cNvGrpSpPr/>
          <p:nvPr/>
        </p:nvGrpSpPr>
        <p:grpSpPr>
          <a:xfrm>
            <a:off x="2907161" y="1252158"/>
            <a:ext cx="1800000" cy="2213953"/>
            <a:chOff x="6084168" y="1561090"/>
            <a:chExt cx="1433395" cy="499733"/>
          </a:xfrm>
        </p:grpSpPr>
        <p:sp>
          <p:nvSpPr>
            <p:cNvPr id="6" name="正方形/長方形 5">
              <a:extLst>
                <a:ext uri="{FF2B5EF4-FFF2-40B4-BE49-F238E27FC236}">
                  <a16:creationId xmlns:a16="http://schemas.microsoft.com/office/drawing/2014/main" id="{D26E0573-B295-3A58-FD55-57239A4CEE25}"/>
                </a:ext>
              </a:extLst>
            </p:cNvPr>
            <p:cNvSpPr/>
            <p:nvPr/>
          </p:nvSpPr>
          <p:spPr bwMode="ltGray">
            <a:xfrm>
              <a:off x="6084168" y="1561090"/>
              <a:ext cx="1433395" cy="126008"/>
            </a:xfrm>
            <a:prstGeom prst="rect">
              <a:avLst/>
            </a:prstGeom>
            <a:solidFill>
              <a:srgbClr val="0070C0">
                <a:alpha val="50196"/>
              </a:srgbClr>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リスク</a:t>
              </a:r>
              <a:r>
                <a:rPr lang="ja-JP" altLang="en-US" sz="12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統括</a:t>
              </a: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a:extLst>
                <a:ext uri="{FF2B5EF4-FFF2-40B4-BE49-F238E27FC236}">
                  <a16:creationId xmlns:a16="http://schemas.microsoft.com/office/drawing/2014/main" id="{5AAE61ED-56C8-7E46-9002-39AAB0B0BEC5}"/>
                </a:ext>
              </a:extLst>
            </p:cNvPr>
            <p:cNvSpPr/>
            <p:nvPr/>
          </p:nvSpPr>
          <p:spPr bwMode="ltGray">
            <a:xfrm>
              <a:off x="6084168" y="1691326"/>
              <a:ext cx="1433395" cy="369497"/>
            </a:xfrm>
            <a:prstGeom prst="rect">
              <a:avLst/>
            </a:prstGeom>
            <a:solidFill>
              <a:schemeClr val="bg1"/>
            </a:solidFill>
            <a:ln w="25400">
              <a:solidFill>
                <a:srgbClr val="73B0D7"/>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融資先および自組織のリスク・機会の把握・整理</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8" name="グループ化 4">
            <a:extLst>
              <a:ext uri="{FF2B5EF4-FFF2-40B4-BE49-F238E27FC236}">
                <a16:creationId xmlns:a16="http://schemas.microsoft.com/office/drawing/2014/main" id="{37C05C10-85E5-DF13-522D-169E56126455}"/>
              </a:ext>
            </a:extLst>
          </p:cNvPr>
          <p:cNvGrpSpPr/>
          <p:nvPr/>
        </p:nvGrpSpPr>
        <p:grpSpPr>
          <a:xfrm>
            <a:off x="5041432" y="1233113"/>
            <a:ext cx="1800000" cy="2232998"/>
            <a:chOff x="6084168" y="1556792"/>
            <a:chExt cx="1433395" cy="504032"/>
          </a:xfrm>
        </p:grpSpPr>
        <p:sp>
          <p:nvSpPr>
            <p:cNvPr id="9" name="正方形/長方形 8">
              <a:extLst>
                <a:ext uri="{FF2B5EF4-FFF2-40B4-BE49-F238E27FC236}">
                  <a16:creationId xmlns:a16="http://schemas.microsoft.com/office/drawing/2014/main" id="{CA9C33F0-3A85-CB7B-85BF-49A351763347}"/>
                </a:ext>
              </a:extLst>
            </p:cNvPr>
            <p:cNvSpPr/>
            <p:nvPr/>
          </p:nvSpPr>
          <p:spPr bwMode="ltGray">
            <a:xfrm>
              <a:off x="6084168" y="1556792"/>
              <a:ext cx="1433395" cy="135321"/>
            </a:xfrm>
            <a:prstGeom prst="rect">
              <a:avLst/>
            </a:prstGeom>
            <a:solidFill>
              <a:schemeClr val="accent3">
                <a:lumMod val="60000"/>
                <a:lumOff val="40000"/>
              </a:schemeClr>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法人部</a:t>
              </a:r>
              <a:endParaRPr lang="en-US" altLang="ja-JP" sz="1200" b="1" noProof="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a:extLst>
                <a:ext uri="{FF2B5EF4-FFF2-40B4-BE49-F238E27FC236}">
                  <a16:creationId xmlns:a16="http://schemas.microsoft.com/office/drawing/2014/main" id="{124B3AA5-EFCC-0E90-2450-54D7B2D655EE}"/>
                </a:ext>
              </a:extLst>
            </p:cNvPr>
            <p:cNvSpPr/>
            <p:nvPr/>
          </p:nvSpPr>
          <p:spPr bwMode="ltGray">
            <a:xfrm>
              <a:off x="6084168" y="1694872"/>
              <a:ext cx="1433395" cy="365952"/>
            </a:xfrm>
            <a:prstGeom prst="rect">
              <a:avLst/>
            </a:prstGeom>
            <a:solidFill>
              <a:schemeClr val="bg1"/>
            </a:solidFill>
            <a:ln w="25400">
              <a:solidFill>
                <a:schemeClr val="accent3">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defTabSz="914400" fontAlgn="base">
                <a:spcBef>
                  <a:spcPct val="0"/>
                </a:spcBef>
                <a:spcAft>
                  <a:spcPct val="0"/>
                </a:spcAft>
                <a:defRPr/>
              </a:pPr>
              <a:r>
                <a:rPr kumimoji="1" lang="ja-JP" altLang="en-US" sz="1200" dirty="0">
                  <a:solidFill>
                    <a:prstClr val="black"/>
                  </a:solidFill>
                  <a:latin typeface="Meiryo UI" panose="020B0604030504040204" pitchFamily="50" charset="-128"/>
                  <a:ea typeface="Meiryo UI" panose="020B0604030504040204" pitchFamily="50" charset="-128"/>
                </a:rPr>
                <a:t>役割：</a:t>
              </a:r>
              <a:endParaRPr kumimoji="1" lang="en-US" altLang="ja-JP" sz="1200" dirty="0">
                <a:solidFill>
                  <a:prstClr val="black"/>
                </a:solidFill>
                <a:latin typeface="Meiryo UI" pitchFamily="50" charset="-128"/>
                <a:ea typeface="Meiryo UI" pitchFamily="50" charset="-128"/>
              </a:endParaRPr>
            </a:p>
            <a:p>
              <a:pPr marL="72000" defTabSz="914400" fontAlgn="base">
                <a:spcBef>
                  <a:spcPct val="0"/>
                </a:spcBef>
                <a:spcAft>
                  <a:spcPct val="0"/>
                </a:spcAft>
                <a:defRPr/>
              </a:pPr>
              <a:endParaRPr kumimoji="1" lang="en-US" altLang="ja-JP" sz="1200" dirty="0">
                <a:solidFill>
                  <a:prstClr val="black"/>
                </a:solidFill>
                <a:latin typeface="Meiryo UI" pitchFamily="50" charset="-128"/>
                <a:ea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a:t>
              </a:r>
              <a:r>
                <a:rPr kumimoji="1" lang="ja-JP" altLang="en-US" sz="1200" dirty="0">
                  <a:solidFill>
                    <a:prstClr val="black"/>
                  </a:solidFill>
                  <a:latin typeface="Meiryo UI" pitchFamily="50" charset="-128"/>
                  <a:ea typeface="Meiryo UI" pitchFamily="50" charset="-128"/>
                  <a:cs typeface="Meiryo UI" pitchFamily="50" charset="-128"/>
                </a:rPr>
                <a:t>経営企画部と連携し、融資先へのエンゲージメントの方針検討</a:t>
              </a:r>
              <a:endParaRPr kumimoji="1" lang="en-US" altLang="ja-JP" sz="1200" dirty="0">
                <a:solidFill>
                  <a:prstClr val="black"/>
                </a:solidFill>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rPr>
                <a:t>・営業部店のエンゲージメントへの帯同</a:t>
              </a:r>
              <a:endParaRPr kumimoji="1" lang="en-US" altLang="ja-JP" sz="1200" dirty="0">
                <a:solidFill>
                  <a:prstClr val="black"/>
                </a:solidFill>
                <a:latin typeface="Meiryo UI" pitchFamily="50" charset="-128"/>
                <a:ea typeface="Meiryo UI" pitchFamily="50" charset="-128"/>
              </a:endParaRPr>
            </a:p>
          </p:txBody>
        </p:sp>
      </p:grpSp>
      <p:sp>
        <p:nvSpPr>
          <p:cNvPr id="11" name="正方形/長方形 10">
            <a:extLst>
              <a:ext uri="{FF2B5EF4-FFF2-40B4-BE49-F238E27FC236}">
                <a16:creationId xmlns:a16="http://schemas.microsoft.com/office/drawing/2014/main" id="{0DDE6A4B-4F44-469D-7B03-5C344E20A19A}"/>
              </a:ext>
            </a:extLst>
          </p:cNvPr>
          <p:cNvSpPr/>
          <p:nvPr/>
        </p:nvSpPr>
        <p:spPr bwMode="ltGray">
          <a:xfrm>
            <a:off x="762159" y="1226115"/>
            <a:ext cx="1799998" cy="594924"/>
          </a:xfrm>
          <a:prstGeom prst="rect">
            <a:avLst/>
          </a:prstGeom>
          <a:solidFill>
            <a:schemeClr val="tx2">
              <a:lumMod val="60000"/>
              <a:lumOff val="40000"/>
            </a:schemeClr>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a:t>
            </a: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企画部</a:t>
            </a:r>
            <a:endParaRPr lang="en-US" altLang="ja-JP"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正方形/長方形 11">
            <a:extLst>
              <a:ext uri="{FF2B5EF4-FFF2-40B4-BE49-F238E27FC236}">
                <a16:creationId xmlns:a16="http://schemas.microsoft.com/office/drawing/2014/main" id="{BCF8F874-1CF0-11A3-07BB-D3F0C3904740}"/>
              </a:ext>
            </a:extLst>
          </p:cNvPr>
          <p:cNvSpPr/>
          <p:nvPr/>
        </p:nvSpPr>
        <p:spPr bwMode="ltGray">
          <a:xfrm>
            <a:off x="762158" y="1832622"/>
            <a:ext cx="1800000" cy="1633489"/>
          </a:xfrm>
          <a:prstGeom prst="rect">
            <a:avLst/>
          </a:prstGeom>
          <a:solidFill>
            <a:schemeClr val="bg1"/>
          </a:solidFill>
          <a:ln w="25400">
            <a:solidFill>
              <a:srgbClr val="7E9DC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ログラム全体の取りまと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C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NFD</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示の実務</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defTabSz="914400" rtl="0" eaLnBrk="1" fontAlgn="base" latinLnBrk="0" hangingPunct="1">
              <a:lnSpc>
                <a:spcPct val="100000"/>
              </a:lnSpc>
              <a:spcBef>
                <a:spcPct val="0"/>
              </a:spcBef>
              <a:spcAft>
                <a:spcPct val="0"/>
              </a:spcAft>
              <a:buClrTx/>
              <a:buSzTx/>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エンゲージメントの方針を検討</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正方形/長方形 12">
            <a:extLst>
              <a:ext uri="{FF2B5EF4-FFF2-40B4-BE49-F238E27FC236}">
                <a16:creationId xmlns:a16="http://schemas.microsoft.com/office/drawing/2014/main" id="{7C07EAD1-D586-A402-76BF-C06E8ED8291E}"/>
              </a:ext>
            </a:extLst>
          </p:cNvPr>
          <p:cNvSpPr/>
          <p:nvPr/>
        </p:nvSpPr>
        <p:spPr bwMode="ltGray">
          <a:xfrm>
            <a:off x="5168473"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全社サステナビリティ戦略策定・決議</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a:t>
            </a: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プログラム進捗・結果報告の受理、助言</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7DA328DD-024C-F8CA-8194-73ADDD7D8A25}"/>
              </a:ext>
            </a:extLst>
          </p:cNvPr>
          <p:cNvSpPr txBox="1"/>
          <p:nvPr/>
        </p:nvSpPr>
        <p:spPr>
          <a:xfrm>
            <a:off x="5434527" y="4266343"/>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15" name="テキスト ボックス 14">
            <a:extLst>
              <a:ext uri="{FF2B5EF4-FFF2-40B4-BE49-F238E27FC236}">
                <a16:creationId xmlns:a16="http://schemas.microsoft.com/office/drawing/2014/main" id="{6C6F11A2-6538-DFD1-2800-7F4BA5EBD18B}"/>
              </a:ext>
            </a:extLst>
          </p:cNvPr>
          <p:cNvSpPr txBox="1"/>
          <p:nvPr/>
        </p:nvSpPr>
        <p:spPr>
          <a:xfrm>
            <a:off x="7115440" y="4217159"/>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6" name="グループ化 15">
            <a:extLst>
              <a:ext uri="{FF2B5EF4-FFF2-40B4-BE49-F238E27FC236}">
                <a16:creationId xmlns:a16="http://schemas.microsoft.com/office/drawing/2014/main" id="{806485D2-36C9-CCD3-8E22-10A6BB6BE5C1}"/>
              </a:ext>
            </a:extLst>
          </p:cNvPr>
          <p:cNvGrpSpPr/>
          <p:nvPr/>
        </p:nvGrpSpPr>
        <p:grpSpPr>
          <a:xfrm>
            <a:off x="7181067" y="1236464"/>
            <a:ext cx="1800001" cy="2229647"/>
            <a:chOff x="395533" y="4568157"/>
            <a:chExt cx="4752531" cy="1045285"/>
          </a:xfrm>
        </p:grpSpPr>
        <p:sp>
          <p:nvSpPr>
            <p:cNvPr id="17" name="正方形/長方形 16">
              <a:extLst>
                <a:ext uri="{FF2B5EF4-FFF2-40B4-BE49-F238E27FC236}">
                  <a16:creationId xmlns:a16="http://schemas.microsoft.com/office/drawing/2014/main" id="{19CF9420-B427-998D-4680-C182E82E5BC7}"/>
                </a:ext>
              </a:extLst>
            </p:cNvPr>
            <p:cNvSpPr/>
            <p:nvPr/>
          </p:nvSpPr>
          <p:spPr bwMode="ltGray">
            <a:xfrm>
              <a:off x="395536" y="4843619"/>
              <a:ext cx="4752528" cy="769823"/>
            </a:xfrm>
            <a:prstGeom prst="rect">
              <a:avLst/>
            </a:prstGeom>
            <a:solidFill>
              <a:schemeClr val="bg1"/>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法人部と連携し、</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融資先</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へ</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エンゲージメント</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実施</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a:extLst>
                <a:ext uri="{FF2B5EF4-FFF2-40B4-BE49-F238E27FC236}">
                  <a16:creationId xmlns:a16="http://schemas.microsoft.com/office/drawing/2014/main" id="{B8A6C81B-FE06-4723-3364-46C5D961D587}"/>
                </a:ext>
              </a:extLst>
            </p:cNvPr>
            <p:cNvSpPr/>
            <p:nvPr/>
          </p:nvSpPr>
          <p:spPr bwMode="ltGray">
            <a:xfrm>
              <a:off x="395533" y="4568157"/>
              <a:ext cx="4752528" cy="267142"/>
            </a:xfrm>
            <a:prstGeom prst="rect">
              <a:avLst/>
            </a:prstGeom>
            <a:solidFill>
              <a:schemeClr val="accent3">
                <a:lumMod val="75000"/>
              </a:schemeClr>
            </a:solidFill>
            <a:ln w="254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ctr"/>
            <a:lstStyle/>
            <a:p>
              <a:pPr algn="ctr">
                <a:defRPr/>
              </a:pPr>
              <a:r>
                <a:rPr lang="ja-JP" altLang="en-US" sz="1200" b="1" noProof="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営業部店</a:t>
              </a:r>
            </a:p>
          </p:txBody>
        </p:sp>
      </p:grpSp>
      <p:sp>
        <p:nvSpPr>
          <p:cNvPr id="19" name="正方形/長方形 18">
            <a:extLst>
              <a:ext uri="{FF2B5EF4-FFF2-40B4-BE49-F238E27FC236}">
                <a16:creationId xmlns:a16="http://schemas.microsoft.com/office/drawing/2014/main" id="{C9D71250-E6D3-9017-5BE9-CC5F3C3581D8}"/>
              </a:ext>
            </a:extLst>
          </p:cNvPr>
          <p:cNvSpPr/>
          <p:nvPr/>
        </p:nvSpPr>
        <p:spPr>
          <a:xfrm>
            <a:off x="5164532"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サステナビリティ推進</a:t>
            </a:r>
            <a:r>
              <a:rPr kumimoji="1" lang="ja-JP" altLang="en-US"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rPr>
              <a:t>委員会</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矢印: 下 20">
            <a:extLst>
              <a:ext uri="{FF2B5EF4-FFF2-40B4-BE49-F238E27FC236}">
                <a16:creationId xmlns:a16="http://schemas.microsoft.com/office/drawing/2014/main" id="{279F4640-DDE1-0CAD-162E-EB4E179E4D7B}"/>
              </a:ext>
            </a:extLst>
          </p:cNvPr>
          <p:cNvSpPr/>
          <p:nvPr/>
        </p:nvSpPr>
        <p:spPr>
          <a:xfrm>
            <a:off x="6014109"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2" name="矢印: 下 21">
            <a:extLst>
              <a:ext uri="{FF2B5EF4-FFF2-40B4-BE49-F238E27FC236}">
                <a16:creationId xmlns:a16="http://schemas.microsoft.com/office/drawing/2014/main" id="{43C0474C-DE66-AB44-7781-3A52778AD7CF}"/>
              </a:ext>
            </a:extLst>
          </p:cNvPr>
          <p:cNvSpPr/>
          <p:nvPr/>
        </p:nvSpPr>
        <p:spPr>
          <a:xfrm rot="10800000">
            <a:off x="6938608" y="4044515"/>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638E31DF-8B0E-BB90-9EE4-221DEE2363C8}"/>
              </a:ext>
            </a:extLst>
          </p:cNvPr>
          <p:cNvSpPr txBox="1"/>
          <p:nvPr/>
        </p:nvSpPr>
        <p:spPr>
          <a:xfrm>
            <a:off x="179511" y="101947"/>
            <a:ext cx="7411724" cy="36933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別添</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　実施体制図（記載例）</a:t>
            </a:r>
            <a:r>
              <a:rPr kumimoji="1" lang="en-US" altLang="ja-JP" dirty="0">
                <a:latin typeface="Meiryo UI" panose="020B0604030504040204" pitchFamily="50" charset="-128"/>
                <a:ea typeface="Meiryo UI" panose="020B0604030504040204" pitchFamily="50" charset="-128"/>
              </a:rPr>
              <a:t> 【</a:t>
            </a:r>
            <a:r>
              <a:rPr kumimoji="1" lang="ja-JP" altLang="en-US" dirty="0">
                <a:latin typeface="Meiryo UI" panose="020B0604030504040204" pitchFamily="50" charset="-128"/>
                <a:ea typeface="Meiryo UI" panose="020B0604030504040204" pitchFamily="50" charset="-128"/>
              </a:rPr>
              <a:t>金融機関名：環境銀行　</a:t>
            </a:r>
            <a:r>
              <a:rPr kumimoji="1" lang="en-US" altLang="ja-JP" dirty="0">
                <a:latin typeface="Meiryo UI" panose="020B0604030504040204" pitchFamily="50" charset="-128"/>
                <a:ea typeface="Meiryo UI" panose="020B0604030504040204" pitchFamily="50" charset="-128"/>
              </a:rPr>
              <a:t>】</a:t>
            </a:r>
            <a:endParaRPr kumimoji="1" lang="ja-JP" altLang="en-US" dirty="0">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EC7A9916-85B0-204F-C393-CF1524A01B06}"/>
              </a:ext>
            </a:extLst>
          </p:cNvPr>
          <p:cNvSpPr txBox="1"/>
          <p:nvPr/>
        </p:nvSpPr>
        <p:spPr>
          <a:xfrm>
            <a:off x="555799" y="585395"/>
            <a:ext cx="3360509" cy="338554"/>
          </a:xfrm>
          <a:prstGeom prst="rect">
            <a:avLst/>
          </a:prstGeom>
          <a:noFill/>
        </p:spPr>
        <p:txBody>
          <a:bodyPr wrap="square" rtlCol="0">
            <a:spAutoFit/>
          </a:bodyPr>
          <a:lstStyle/>
          <a:p>
            <a:r>
              <a:rPr kumimoji="1" lang="ja-JP" altLang="en-US" sz="1600" dirty="0">
                <a:solidFill>
                  <a:schemeClr val="accent3">
                    <a:lumMod val="75000"/>
                  </a:schemeClr>
                </a:solidFill>
                <a:latin typeface="Meiryo UI" panose="020B0604030504040204" pitchFamily="50" charset="-128"/>
                <a:ea typeface="Meiryo UI" panose="020B0604030504040204" pitchFamily="50" charset="-128"/>
              </a:rPr>
              <a:t>（必須）本プログラム参加部署</a:t>
            </a:r>
          </a:p>
        </p:txBody>
      </p:sp>
      <p:sp>
        <p:nvSpPr>
          <p:cNvPr id="25" name="テキスト ボックス 24">
            <a:extLst>
              <a:ext uri="{FF2B5EF4-FFF2-40B4-BE49-F238E27FC236}">
                <a16:creationId xmlns:a16="http://schemas.microsoft.com/office/drawing/2014/main" id="{0DAC1C69-5E37-AECB-94EF-6D32648FB316}"/>
              </a:ext>
            </a:extLst>
          </p:cNvPr>
          <p:cNvSpPr txBox="1"/>
          <p:nvPr/>
        </p:nvSpPr>
        <p:spPr>
          <a:xfrm>
            <a:off x="1642238" y="4238547"/>
            <a:ext cx="648072" cy="338554"/>
          </a:xfrm>
          <a:prstGeom prst="rect">
            <a:avLst/>
          </a:prstGeom>
          <a:noFill/>
        </p:spPr>
        <p:txBody>
          <a:bodyPr wrap="square" rtlCol="0">
            <a:spAutoFit/>
          </a:bodyPr>
          <a:lstStyle/>
          <a:p>
            <a:pPr algn="just"/>
            <a:r>
              <a:rPr kumimoji="1" lang="ja-JP" altLang="en-US" sz="1600" dirty="0">
                <a:latin typeface="Meiryo UI" panose="020B0604030504040204" pitchFamily="50" charset="-128"/>
                <a:ea typeface="Meiryo UI" panose="020B0604030504040204" pitchFamily="50" charset="-128"/>
                <a:cs typeface="Meiryo UI" panose="020B0604030504040204" pitchFamily="50" charset="-128"/>
              </a:rPr>
              <a:t>報告</a:t>
            </a:r>
          </a:p>
        </p:txBody>
      </p:sp>
      <p:sp>
        <p:nvSpPr>
          <p:cNvPr id="26" name="テキスト ボックス 25">
            <a:extLst>
              <a:ext uri="{FF2B5EF4-FFF2-40B4-BE49-F238E27FC236}">
                <a16:creationId xmlns:a16="http://schemas.microsoft.com/office/drawing/2014/main" id="{A4971970-4727-2403-225A-37C9147D94F4}"/>
              </a:ext>
            </a:extLst>
          </p:cNvPr>
          <p:cNvSpPr txBox="1"/>
          <p:nvPr/>
        </p:nvSpPr>
        <p:spPr>
          <a:xfrm>
            <a:off x="3323151" y="4189363"/>
            <a:ext cx="1224136" cy="338554"/>
          </a:xfrm>
          <a:prstGeom prst="rect">
            <a:avLst/>
          </a:prstGeom>
          <a:noFill/>
        </p:spPr>
        <p:txBody>
          <a:bodyPr wrap="square" rtlCol="0">
            <a:spAutoFit/>
          </a:bodyPr>
          <a:lstStyle/>
          <a:p>
            <a:pPr algn="just"/>
            <a:r>
              <a:rPr lang="ja-JP" altLang="en-US" sz="1600" dirty="0">
                <a:latin typeface="Meiryo UI" panose="020B0604030504040204" pitchFamily="50" charset="-128"/>
                <a:ea typeface="Meiryo UI" panose="020B0604030504040204" pitchFamily="50" charset="-128"/>
                <a:cs typeface="Meiryo UI" panose="020B0604030504040204" pitchFamily="50" charset="-128"/>
              </a:rPr>
              <a:t>助言・指示</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矢印: 下 26">
            <a:extLst>
              <a:ext uri="{FF2B5EF4-FFF2-40B4-BE49-F238E27FC236}">
                <a16:creationId xmlns:a16="http://schemas.microsoft.com/office/drawing/2014/main" id="{3CE4E98C-DD19-4507-295F-C89F0B08EDE3}"/>
              </a:ext>
            </a:extLst>
          </p:cNvPr>
          <p:cNvSpPr/>
          <p:nvPr/>
        </p:nvSpPr>
        <p:spPr>
          <a:xfrm>
            <a:off x="2201894" y="4049786"/>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28" name="矢印: 下 27">
            <a:extLst>
              <a:ext uri="{FF2B5EF4-FFF2-40B4-BE49-F238E27FC236}">
                <a16:creationId xmlns:a16="http://schemas.microsoft.com/office/drawing/2014/main" id="{38F7EAC8-B8DE-8C29-FCA3-7A4BD6B87993}"/>
              </a:ext>
            </a:extLst>
          </p:cNvPr>
          <p:cNvSpPr/>
          <p:nvPr/>
        </p:nvSpPr>
        <p:spPr>
          <a:xfrm rot="10800000">
            <a:off x="3083059" y="4031304"/>
            <a:ext cx="176832" cy="726286"/>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b="1" dirty="0">
              <a:solidFill>
                <a:schemeClr val="bg1"/>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3B9C9636-59C7-29B4-47F6-5E8E0C352CC6}"/>
              </a:ext>
            </a:extLst>
          </p:cNvPr>
          <p:cNvSpPr txBox="1"/>
          <p:nvPr/>
        </p:nvSpPr>
        <p:spPr>
          <a:xfrm>
            <a:off x="507996" y="5997100"/>
            <a:ext cx="7411724" cy="338554"/>
          </a:xfrm>
          <a:prstGeom prst="rect">
            <a:avLst/>
          </a:prstGeom>
          <a:noFill/>
        </p:spPr>
        <p:txBody>
          <a:bodyPr wrap="square" rtlCol="0">
            <a:spAutoFit/>
          </a:bodyPr>
          <a:lstStyle/>
          <a:p>
            <a:r>
              <a:rPr kumimoji="1" lang="ja-JP" altLang="en-US" sz="1600" dirty="0">
                <a:solidFill>
                  <a:schemeClr val="accent4">
                    <a:lumMod val="75000"/>
                  </a:schemeClr>
                </a:solidFill>
                <a:latin typeface="Meiryo UI" panose="020B0604030504040204" pitchFamily="50" charset="-128"/>
                <a:ea typeface="Meiryo UI" panose="020B0604030504040204" pitchFamily="50" charset="-128"/>
              </a:rPr>
              <a:t>（任意）経営層の関与や経営層で構成される組織との連携がある場合は記載</a:t>
            </a:r>
          </a:p>
        </p:txBody>
      </p:sp>
      <p:sp>
        <p:nvSpPr>
          <p:cNvPr id="30" name="正方形/長方形 29">
            <a:extLst>
              <a:ext uri="{FF2B5EF4-FFF2-40B4-BE49-F238E27FC236}">
                <a16:creationId xmlns:a16="http://schemas.microsoft.com/office/drawing/2014/main" id="{457FDE77-E66F-2A92-C7B0-6C4E175E63D6}"/>
              </a:ext>
            </a:extLst>
          </p:cNvPr>
          <p:cNvSpPr/>
          <p:nvPr/>
        </p:nvSpPr>
        <p:spPr bwMode="ltGray">
          <a:xfrm>
            <a:off x="1426334" y="5186039"/>
            <a:ext cx="3005659" cy="665892"/>
          </a:xfrm>
          <a:prstGeom prst="rect">
            <a:avLst/>
          </a:prstGeom>
          <a:solidFill>
            <a:schemeClr val="bg1"/>
          </a:solidFill>
          <a:ln w="25400">
            <a:solidFill>
              <a:srgbClr val="4D9BD3"/>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anchor="t"/>
          <a:lstStyle/>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役割：</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rPr>
              <a:t>・報告の受理</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r>
              <a:rPr kumimoji="1" lang="ja-JP" altLang="en-US" sz="1200" dirty="0">
                <a:solidFill>
                  <a:prstClr val="black"/>
                </a:solidFill>
                <a:latin typeface="Meiryo UI" pitchFamily="50" charset="-128"/>
                <a:ea typeface="Meiryo UI" pitchFamily="50" charset="-128"/>
                <a:cs typeface="Meiryo UI" pitchFamily="50" charset="-128"/>
              </a:rPr>
              <a:t>・サステナビリティの全社的な取組の推進</a:t>
            </a: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a:p>
            <a:pPr marL="72000" marR="0" lvl="0" indent="0" defTabSz="914400" rtl="0" eaLnBrk="1" fontAlgn="base" latinLnBrk="0" hangingPunct="1">
              <a:lnSpc>
                <a:spcPct val="100000"/>
              </a:lnSpc>
              <a:spcBef>
                <a:spcPct val="0"/>
              </a:spcBef>
              <a:spcAft>
                <a:spcPct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itchFamily="50" charset="-128"/>
              <a:ea typeface="Meiryo UI" pitchFamily="50" charset="-128"/>
              <a:cs typeface="Meiryo UI" pitchFamily="50" charset="-128"/>
            </a:endParaRPr>
          </a:p>
        </p:txBody>
      </p:sp>
      <p:sp>
        <p:nvSpPr>
          <p:cNvPr id="31" name="正方形/長方形 30">
            <a:extLst>
              <a:ext uri="{FF2B5EF4-FFF2-40B4-BE49-F238E27FC236}">
                <a16:creationId xmlns:a16="http://schemas.microsoft.com/office/drawing/2014/main" id="{C57C15EF-8B28-10D5-B69A-0C3849D049AE}"/>
              </a:ext>
            </a:extLst>
          </p:cNvPr>
          <p:cNvSpPr/>
          <p:nvPr/>
        </p:nvSpPr>
        <p:spPr>
          <a:xfrm>
            <a:off x="1422393" y="4869244"/>
            <a:ext cx="3009600" cy="307921"/>
          </a:xfrm>
          <a:prstGeom prst="rect">
            <a:avLst/>
          </a:prstGeom>
          <a:solidFill>
            <a:srgbClr val="0070C0">
              <a:alpha val="69804"/>
            </a:srgbClr>
          </a:solidFill>
          <a:ln>
            <a:solidFill>
              <a:srgbClr val="4D9BD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200"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経営層（サステナビリティ担当役員）</a:t>
            </a:r>
            <a:endParaRPr kumimoji="1" lang="en-US" altLang="ja-JP" sz="1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a:extLst>
              <a:ext uri="{FF2B5EF4-FFF2-40B4-BE49-F238E27FC236}">
                <a16:creationId xmlns:a16="http://schemas.microsoft.com/office/drawing/2014/main" id="{56B8A12B-3139-E4EC-7A48-6BA51472252D}"/>
              </a:ext>
            </a:extLst>
          </p:cNvPr>
          <p:cNvSpPr txBox="1"/>
          <p:nvPr/>
        </p:nvSpPr>
        <p:spPr>
          <a:xfrm>
            <a:off x="555799" y="6385248"/>
            <a:ext cx="741172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実施体制図については、上記の枠を使用せず自由に編集していただいて構いません。</a:t>
            </a:r>
          </a:p>
        </p:txBody>
      </p:sp>
    </p:spTree>
    <p:extLst>
      <p:ext uri="{BB962C8B-B14F-4D97-AF65-F5344CB8AC3E}">
        <p14:creationId xmlns:p14="http://schemas.microsoft.com/office/powerpoint/2010/main" val="1743347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font">
      <a:majorFont>
        <a:latin typeface="Arial"/>
        <a:ea typeface="ＭＳ Ｐゴシック"/>
        <a:cs typeface=""/>
      </a:majorFont>
      <a:minorFont>
        <a:latin typeface="Arial"/>
        <a:ea typeface="ＭＳ Ｐ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docProps/app.xml><?xml version="1.0" encoding="utf-8"?>
<Properties xmlns="http://schemas.openxmlformats.org/officeDocument/2006/extended-properties" xmlns:vt="http://schemas.openxmlformats.org/officeDocument/2006/docPropsVTypes">
  <Template>Default Theme</Template>
  <Words>279</Words>
  <PresentationFormat>A4 210 x 297 mm</PresentationFormat>
  <Paragraphs>70</Paragraphs>
  <Slides>2</Slides>
  <Notes>0</Notes>
  <HiddenSlides>0</HiddenSlides>
  <MMClips>0</MMClips>
  <ScaleCrop>false</ScaleCrop>
  <HeadingPairs>
    <vt:vector size="8" baseType="variant">
      <vt:variant>
        <vt:lpstr>使用されているフォント</vt:lpstr>
      </vt:variant>
      <vt:variant>
        <vt:i4>2</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6" baseType="lpstr">
      <vt:lpstr>Meiryo UI</vt:lpstr>
      <vt:lpstr>Arial</vt:lpstr>
      <vt:lpstr>Default Theme</vt:lpstr>
      <vt:lpstr>think-cell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